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71" r:id="rId2"/>
    <p:sldId id="273" r:id="rId3"/>
    <p:sldId id="272" r:id="rId4"/>
    <p:sldId id="275" r:id="rId5"/>
    <p:sldId id="274" r:id="rId6"/>
  </p:sldIdLst>
  <p:sldSz cx="9906000" cy="6858000" type="A4"/>
  <p:notesSz cx="6797675" cy="9926638"/>
  <p:custDataLst>
    <p:tags r:id="rId9"/>
  </p:custDataLst>
  <p:defaultTextStyle>
    <a:defPPr>
      <a:defRPr lang="sv-S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orient="horz" pos="4247">
          <p15:clr>
            <a:srgbClr val="A4A3A4"/>
          </p15:clr>
        </p15:guide>
        <p15:guide id="3" orient="horz" pos="391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pos="2880">
          <p15:clr>
            <a:srgbClr val="A4A3A4"/>
          </p15:clr>
        </p15:guide>
        <p15:guide id="6" pos="295">
          <p15:clr>
            <a:srgbClr val="A4A3A4"/>
          </p15:clr>
        </p15:guide>
        <p15:guide id="7" pos="5435">
          <p15:clr>
            <a:srgbClr val="A4A3A4"/>
          </p15:clr>
        </p15:guide>
        <p15:guide id="8" pos="3121">
          <p15:clr>
            <a:srgbClr val="A4A3A4"/>
          </p15:clr>
        </p15:guide>
        <p15:guide id="9" pos="320">
          <p15:clr>
            <a:srgbClr val="A4A3A4"/>
          </p15:clr>
        </p15:guide>
        <p15:guide id="10" pos="588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BBBD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94" autoAdjust="0"/>
    <p:restoredTop sz="94660"/>
  </p:normalViewPr>
  <p:slideViewPr>
    <p:cSldViewPr showGuides="1">
      <p:cViewPr varScale="1">
        <p:scale>
          <a:sx n="102" d="100"/>
          <a:sy n="102" d="100"/>
        </p:scale>
        <p:origin x="1848" y="114"/>
      </p:cViewPr>
      <p:guideLst>
        <p:guide orient="horz" pos="1162"/>
        <p:guide orient="horz" pos="4247"/>
        <p:guide orient="horz" pos="391"/>
        <p:guide orient="horz" pos="3884"/>
        <p:guide pos="2880"/>
        <p:guide pos="295"/>
        <p:guide pos="5435"/>
        <p:guide pos="3121"/>
        <p:guide pos="320"/>
        <p:guide pos="58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618" y="1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539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618" y="9430539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375C7DE-F5EB-4C78-8869-C04A4B3007CC}" type="slidenum">
              <a:rPr lang="sv-SE"/>
              <a:pPr>
                <a:defRPr/>
              </a:pPr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294681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618" y="1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686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09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647" y="4715270"/>
            <a:ext cx="4984382" cy="4467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09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539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409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618" y="9430539"/>
            <a:ext cx="2946058" cy="49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427ABEF-5639-47B9-8544-EA23C1A8888D}" type="slidenum">
              <a:rPr lang="sv-SE"/>
              <a:pPr>
                <a:defRPr/>
              </a:pPr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68904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0"/>
            <a:ext cx="9905998" cy="685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3363" y="2790056"/>
            <a:ext cx="8382000" cy="854968"/>
          </a:xfrm>
        </p:spPr>
        <p:txBody>
          <a:bodyPr anchor="b"/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1468" y="3773561"/>
            <a:ext cx="6934200" cy="879575"/>
          </a:xfrm>
        </p:spPr>
        <p:txBody>
          <a:bodyPr/>
          <a:lstStyle>
            <a:lvl1pPr marL="0" indent="0" algn="ctr">
              <a:buFont typeface="Verdana" pitchFamily="34" charset="0"/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sv-SE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970964" y="5517233"/>
            <a:ext cx="1949905" cy="35685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239713" indent="0">
              <a:buNone/>
              <a:defRPr>
                <a:solidFill>
                  <a:schemeClr val="tx1"/>
                </a:solidFill>
              </a:defRPr>
            </a:lvl2pPr>
            <a:lvl3pPr marL="508000" indent="0">
              <a:buNone/>
              <a:defRPr>
                <a:solidFill>
                  <a:schemeClr val="tx1"/>
                </a:solidFill>
              </a:defRPr>
            </a:lvl3pPr>
            <a:lvl4pPr marL="723900" indent="0">
              <a:buNone/>
              <a:defRPr>
                <a:solidFill>
                  <a:schemeClr val="tx1"/>
                </a:solidFill>
              </a:defRPr>
            </a:lvl4pPr>
            <a:lvl5pPr marL="9810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utho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596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579" y="0"/>
            <a:ext cx="9905998" cy="685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3363" y="2790056"/>
            <a:ext cx="8382000" cy="854968"/>
          </a:xfrm>
        </p:spPr>
        <p:txBody>
          <a:bodyPr anchor="b"/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 noProof="0"/>
              <a:t>Kliknij, aby edytować styl</a:t>
            </a:r>
            <a:endParaRPr lang="sv-SE" noProof="0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1468" y="3773561"/>
            <a:ext cx="6934200" cy="519536"/>
          </a:xfrm>
        </p:spPr>
        <p:txBody>
          <a:bodyPr/>
          <a:lstStyle>
            <a:lvl1pPr marL="0" indent="0" algn="ctr">
              <a:buFont typeface="Verdana" pitchFamily="34" charset="0"/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sv-SE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970964" y="6312502"/>
            <a:ext cx="1949905" cy="35685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239713" indent="0">
              <a:buNone/>
              <a:defRPr>
                <a:solidFill>
                  <a:schemeClr val="tx1"/>
                </a:solidFill>
              </a:defRPr>
            </a:lvl2pPr>
            <a:lvl3pPr marL="508000" indent="0">
              <a:buNone/>
              <a:defRPr>
                <a:solidFill>
                  <a:schemeClr val="tx1"/>
                </a:solidFill>
              </a:defRPr>
            </a:lvl3pPr>
            <a:lvl4pPr marL="723900" indent="0">
              <a:buNone/>
              <a:defRPr>
                <a:solidFill>
                  <a:schemeClr val="tx1"/>
                </a:solidFill>
              </a:defRPr>
            </a:lvl4pPr>
            <a:lvl5pPr marL="9810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utho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62550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2579" y="0"/>
            <a:ext cx="9905997" cy="685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3363" y="2790056"/>
            <a:ext cx="8382000" cy="854968"/>
          </a:xfrm>
        </p:spPr>
        <p:txBody>
          <a:bodyPr anchor="b"/>
          <a:lstStyle>
            <a:lvl1pPr algn="l">
              <a:defRPr sz="3200" b="0">
                <a:solidFill>
                  <a:schemeClr val="accent1"/>
                </a:solidFill>
                <a:effectLst>
                  <a:glow rad="381000">
                    <a:schemeClr val="bg1">
                      <a:alpha val="20000"/>
                    </a:schemeClr>
                  </a:glow>
                </a:effectLst>
              </a:defRPr>
            </a:lvl1pPr>
          </a:lstStyle>
          <a:p>
            <a:pPr lvl="0"/>
            <a:r>
              <a:rPr lang="pl-PL" noProof="0"/>
              <a:t>Kliknij, aby edytować styl</a:t>
            </a:r>
            <a:endParaRPr lang="sv-SE" noProof="0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3363" y="3773561"/>
            <a:ext cx="6934200" cy="519536"/>
          </a:xfrm>
        </p:spPr>
        <p:txBody>
          <a:bodyPr/>
          <a:lstStyle>
            <a:lvl1pPr marL="0" indent="0" algn="l">
              <a:buFont typeface="Verdana" pitchFamily="34" charset="0"/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sv-SE" noProof="0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53364" y="5517233"/>
            <a:ext cx="1949905" cy="356859"/>
          </a:xfrm>
        </p:spPr>
        <p:txBody>
          <a:bodyPr anchor="ctr"/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239713" indent="0">
              <a:buNone/>
              <a:defRPr>
                <a:solidFill>
                  <a:schemeClr val="tx1"/>
                </a:solidFill>
              </a:defRPr>
            </a:lvl2pPr>
            <a:lvl3pPr marL="508000" indent="0">
              <a:buNone/>
              <a:defRPr>
                <a:solidFill>
                  <a:schemeClr val="tx1"/>
                </a:solidFill>
              </a:defRPr>
            </a:lvl3pPr>
            <a:lvl4pPr marL="723900" indent="0">
              <a:buNone/>
              <a:defRPr>
                <a:solidFill>
                  <a:schemeClr val="tx1"/>
                </a:solidFill>
              </a:defRPr>
            </a:lvl4pPr>
            <a:lvl5pPr marL="9810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utho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8502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200" b="0" cap="none" baseline="0"/>
            </a:lvl1pPr>
          </a:lstStyle>
          <a:p>
            <a:r>
              <a:rPr lang="pl-PL"/>
              <a:t>Kliknij, aby edytować styl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852937"/>
            <a:ext cx="8420100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73272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0525" y="504000"/>
            <a:ext cx="8959896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/>
              <a:t>Kliknij, aby edytować styl</a:t>
            </a:r>
            <a:endParaRPr lang="sv-SE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81706" y="1836614"/>
            <a:ext cx="8663782" cy="4329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/>
            </a:lvl1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sv-SE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546410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ullet list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90525" y="504000"/>
            <a:ext cx="8959896" cy="1143000"/>
          </a:xfr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04027" y="1834191"/>
            <a:ext cx="4248974" cy="4331659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097017" y="1840267"/>
            <a:ext cx="4248597" cy="4325583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sv-SE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01279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90525" y="504000"/>
            <a:ext cx="8959896" cy="1143000"/>
          </a:xfr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sv-SE" dirty="0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84041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 userDrawn="1"/>
        </p:nvSpPr>
        <p:spPr>
          <a:xfrm>
            <a:off x="2994318" y="2402958"/>
            <a:ext cx="4349154" cy="2622360"/>
          </a:xfrm>
          <a:custGeom>
            <a:avLst/>
            <a:gdLst>
              <a:gd name="connsiteX0" fmla="*/ 0 w 4015301"/>
              <a:gd name="connsiteY0" fmla="*/ 0 h 2622360"/>
              <a:gd name="connsiteX1" fmla="*/ 4008475 w 4015301"/>
              <a:gd name="connsiteY1" fmla="*/ 2551814 h 2622360"/>
              <a:gd name="connsiteX2" fmla="*/ 956930 w 4015301"/>
              <a:gd name="connsiteY2" fmla="*/ 1786270 h 2622360"/>
              <a:gd name="connsiteX3" fmla="*/ 839972 w 4015301"/>
              <a:gd name="connsiteY3" fmla="*/ 489098 h 2622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15301" h="2622360">
                <a:moveTo>
                  <a:pt x="0" y="0"/>
                </a:moveTo>
                <a:cubicBezTo>
                  <a:pt x="1924493" y="1127051"/>
                  <a:pt x="3848987" y="2254102"/>
                  <a:pt x="4008475" y="2551814"/>
                </a:cubicBezTo>
                <a:cubicBezTo>
                  <a:pt x="4167963" y="2849526"/>
                  <a:pt x="1485014" y="2130056"/>
                  <a:pt x="956930" y="1786270"/>
                </a:cubicBezTo>
                <a:cubicBezTo>
                  <a:pt x="428846" y="1442484"/>
                  <a:pt x="634409" y="965791"/>
                  <a:pt x="839972" y="489098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5066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6859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4880" y="3645024"/>
            <a:ext cx="8382000" cy="1143000"/>
          </a:xfrm>
        </p:spPr>
        <p:txBody>
          <a:bodyPr anchor="b"/>
          <a:lstStyle>
            <a:lvl1pPr algn="ctr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 noProof="0"/>
              <a:t>Kliknij, aby edytować styl</a:t>
            </a:r>
            <a:endParaRPr lang="sv-SE" noProof="0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41769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90837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3087"/>
            <a:ext cx="9906000" cy="6859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0525" y="504000"/>
            <a:ext cx="8959896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/>
              <a:t>Kliknij, aby edytować styl</a:t>
            </a:r>
            <a:endParaRPr lang="sv-SE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706" y="1842401"/>
            <a:ext cx="8663782" cy="4363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79348" y="6520260"/>
            <a:ext cx="7518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3"/>
                </a:solidFill>
                <a:latin typeface="+mn-lt"/>
              </a:defRPr>
            </a:lvl1pPr>
          </a:lstStyle>
          <a:p>
            <a:fld id="{094391D8-BAAB-43BD-A4AB-5999C90F2801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9" r:id="rId2"/>
    <p:sldLayoutId id="2147483700" r:id="rId3"/>
    <p:sldLayoutId id="2147483686" r:id="rId4"/>
    <p:sldLayoutId id="2147483685" r:id="rId5"/>
    <p:sldLayoutId id="2147483687" r:id="rId6"/>
    <p:sldLayoutId id="2147483689" r:id="rId7"/>
    <p:sldLayoutId id="2147483690" r:id="rId8"/>
    <p:sldLayoutId id="2147483698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0" i="0" baseline="0">
          <a:solidFill>
            <a:srgbClr val="4B92DB"/>
          </a:solidFill>
          <a:latin typeface="Calibri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238125" indent="-238125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SzPct val="75000"/>
        <a:buFont typeface="Verdana" pitchFamily="34" charset="0"/>
        <a:buChar char="•"/>
        <a:defRPr sz="2400" baseline="0">
          <a:solidFill>
            <a:schemeClr val="accent3"/>
          </a:solidFill>
          <a:latin typeface="+mn-lt"/>
          <a:ea typeface="+mn-ea"/>
          <a:cs typeface="+mn-cs"/>
        </a:defRPr>
      </a:lvl1pPr>
      <a:lvl2pPr marL="506413" indent="-26670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75000"/>
        <a:buChar char="–"/>
        <a:defRPr sz="2000">
          <a:solidFill>
            <a:schemeClr val="accent3"/>
          </a:solidFill>
          <a:latin typeface="+mn-lt"/>
        </a:defRPr>
      </a:lvl2pPr>
      <a:lvl3pPr marL="714375" indent="-206375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75000"/>
        <a:buChar char="•"/>
        <a:defRPr sz="1800">
          <a:solidFill>
            <a:schemeClr val="accent3"/>
          </a:solidFill>
          <a:latin typeface="+mn-lt"/>
        </a:defRPr>
      </a:lvl3pPr>
      <a:lvl4pPr marL="971550" indent="-24765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75000"/>
        <a:buChar char="–"/>
        <a:defRPr sz="1600">
          <a:solidFill>
            <a:schemeClr val="accent3"/>
          </a:solidFill>
          <a:latin typeface="+mn-lt"/>
        </a:defRPr>
      </a:lvl4pPr>
      <a:lvl5pPr marL="1171575" indent="-19050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75000"/>
        <a:buFont typeface="Arial" pitchFamily="34" charset="0"/>
        <a:buChar char="•"/>
        <a:defRPr sz="1400">
          <a:solidFill>
            <a:schemeClr val="accent3"/>
          </a:solidFill>
          <a:latin typeface="+mn-lt"/>
        </a:defRPr>
      </a:lvl5pPr>
      <a:lvl6pPr marL="1628775" indent="-1905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085975" indent="-1905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543175" indent="-1905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000375" indent="-1905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7" name="Podtytuł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4391D8-BAAB-43BD-A4AB-5999C90F2801}" type="slidenum">
              <a:rPr lang="sv-SE" smtClean="0"/>
              <a:pPr/>
              <a:t>1</a:t>
            </a:fld>
            <a:endParaRPr lang="sv-SE" dirty="0"/>
          </a:p>
        </p:txBody>
      </p:sp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Prostokąt 1"/>
          <p:cNvSpPr/>
          <p:nvPr/>
        </p:nvSpPr>
        <p:spPr>
          <a:xfrm>
            <a:off x="8049344" y="116632"/>
            <a:ext cx="165618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700" dirty="0">
                <a:latin typeface="+mj-lt"/>
              </a:rPr>
              <a:t>Nr szablonu:A01_P02_F04v1</a:t>
            </a:r>
          </a:p>
          <a:p>
            <a:r>
              <a:rPr lang="pl-PL" sz="700" dirty="0">
                <a:latin typeface="+mj-lt"/>
              </a:rPr>
              <a:t>Nr dokumentu: xxx_xxx_v1 </a:t>
            </a:r>
          </a:p>
          <a:p>
            <a:r>
              <a:rPr lang="pl-PL" sz="700" dirty="0">
                <a:latin typeface="+mj-lt"/>
              </a:rPr>
              <a:t>Data wydania: xx-xx-</a:t>
            </a:r>
            <a:r>
              <a:rPr lang="pl-PL" sz="700" dirty="0" err="1">
                <a:latin typeface="+mj-lt"/>
              </a:rPr>
              <a:t>xxxx</a:t>
            </a:r>
            <a:r>
              <a:rPr lang="pl-PL" sz="800" dirty="0"/>
              <a:t>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ytuł 5">
            <a:extLst>
              <a:ext uri="{FF2B5EF4-FFF2-40B4-BE49-F238E27FC236}">
                <a16:creationId xmlns:a16="http://schemas.microsoft.com/office/drawing/2014/main" id="{7BA1F921-C3FD-4402-954D-C31FF8F6F5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Podtytuł 6">
            <a:extLst>
              <a:ext uri="{FF2B5EF4-FFF2-40B4-BE49-F238E27FC236}">
                <a16:creationId xmlns:a16="http://schemas.microsoft.com/office/drawing/2014/main" id="{E8DE865E-9760-4A6E-9F10-1D18DCD830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ADF1A73-DA5C-4778-9E36-A06924FCDD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4391D8-BAAB-43BD-A4AB-5999C90F2801}" type="slidenum">
              <a:rPr lang="sv-SE" smtClean="0"/>
              <a:pPr/>
              <a:t>2</a:t>
            </a:fld>
            <a:endParaRPr lang="sv-SE" dirty="0"/>
          </a:p>
        </p:txBody>
      </p:sp>
      <p:sp>
        <p:nvSpPr>
          <p:cNvPr id="8" name="Symbol zastępczy tekstu 7">
            <a:extLst>
              <a:ext uri="{FF2B5EF4-FFF2-40B4-BE49-F238E27FC236}">
                <a16:creationId xmlns:a16="http://schemas.microsoft.com/office/drawing/2014/main" id="{240FEA3D-07DC-4002-A76F-D5D1AE479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50500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ytuł 5">
            <a:extLst>
              <a:ext uri="{FF2B5EF4-FFF2-40B4-BE49-F238E27FC236}">
                <a16:creationId xmlns:a16="http://schemas.microsoft.com/office/drawing/2014/main" id="{1800B7B4-F01E-4EBB-851A-1A97DE26C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zawartości 6">
            <a:extLst>
              <a:ext uri="{FF2B5EF4-FFF2-40B4-BE49-F238E27FC236}">
                <a16:creationId xmlns:a16="http://schemas.microsoft.com/office/drawing/2014/main" id="{C60FEF4B-0B9D-4014-A59A-B90C493D7A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FAA3DFD-5856-430F-9C91-3E1B3D352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4391D8-BAAB-43BD-A4AB-5999C90F2801}" type="slidenum">
              <a:rPr lang="sv-SE" smtClean="0"/>
              <a:pPr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3773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1BAD7726-F820-4D0B-9FA9-5047588F1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57C0CC4D-D2AC-436E-9F99-927C355B91B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zawartości 6">
            <a:extLst>
              <a:ext uri="{FF2B5EF4-FFF2-40B4-BE49-F238E27FC236}">
                <a16:creationId xmlns:a16="http://schemas.microsoft.com/office/drawing/2014/main" id="{39A52A18-7A1E-4EEC-9261-F2FF7744BCA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0DB46767-772A-46B8-A94D-C6E96B0CDC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4391D8-BAAB-43BD-A4AB-5999C90F2801}" type="slidenum">
              <a:rPr lang="sv-SE" smtClean="0"/>
              <a:pPr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3552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AD337414-B99D-41AB-A968-3986A9197C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680C0BC-251E-4568-90BF-E413375D8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4391D8-BAAB-43BD-A4AB-5999C90F2801}" type="slidenum">
              <a:rPr lang="sv-SE" smtClean="0"/>
              <a:pPr/>
              <a:t>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00417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A_final PPT templateMay2015">
  <a:themeElements>
    <a:clrScheme name="Hilding Anders">
      <a:dk1>
        <a:srgbClr val="A59D95"/>
      </a:dk1>
      <a:lt1>
        <a:srgbClr val="FFFFFF"/>
      </a:lt1>
      <a:dk2>
        <a:srgbClr val="A59D95"/>
      </a:dk2>
      <a:lt2>
        <a:srgbClr val="FFFFFF"/>
      </a:lt2>
      <a:accent1>
        <a:srgbClr val="4B92DB"/>
      </a:accent1>
      <a:accent2>
        <a:srgbClr val="FFC19C"/>
      </a:accent2>
      <a:accent3>
        <a:srgbClr val="5F5F5F"/>
      </a:accent3>
      <a:accent4>
        <a:srgbClr val="A59D95"/>
      </a:accent4>
      <a:accent5>
        <a:srgbClr val="DBD7D4"/>
      </a:accent5>
      <a:accent6>
        <a:srgbClr val="FFFFFF"/>
      </a:accent6>
      <a:hlink>
        <a:srgbClr val="4B92DB"/>
      </a:hlink>
      <a:folHlink>
        <a:srgbClr val="FFC1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indent="0">
          <a:buClr>
            <a:schemeClr val="accent1"/>
          </a:buClr>
          <a:buSzPct val="75000"/>
          <a:buFont typeface="Arial" pitchFamily="34" charset="0"/>
          <a:buNone/>
          <a:defRPr sz="1600" dirty="0" err="1" smtClean="0">
            <a:solidFill>
              <a:schemeClr val="accent3"/>
            </a:solidFill>
            <a:latin typeface="+mn-lt"/>
          </a:defRPr>
        </a:defPPr>
      </a:lstStyle>
    </a:tx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ilding_Anders_template_130516" id="{40034A15-7837-443A-BDCE-53AC228EB7E5}" vid="{E868C070-9BAF-4419-8131-FE88AE3747AB}"/>
    </a:ext>
  </a:ext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A_final PPT templateMay2015</Template>
  <TotalTime>2255</TotalTime>
  <Words>25</Words>
  <Application>Microsoft Office PowerPoint</Application>
  <PresentationFormat>Papier A4 (210x297 mm)</PresentationFormat>
  <Paragraphs>8</Paragraphs>
  <Slides>5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5</vt:i4>
      </vt:variant>
    </vt:vector>
  </HeadingPairs>
  <TitlesOfParts>
    <vt:vector size="10" baseType="lpstr">
      <vt:lpstr>Arial</vt:lpstr>
      <vt:lpstr>Calibri</vt:lpstr>
      <vt:lpstr>Verdana</vt:lpstr>
      <vt:lpstr>HA_final PPT templateMay2015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tuł prezentacji – główne przesłanie prezentacji</dc:title>
  <dc:creator>gmba3</dc:creator>
  <cp:lastModifiedBy>Joanna Giera</cp:lastModifiedBy>
  <cp:revision>77</cp:revision>
  <cp:lastPrinted>2008-05-05T10:43:39Z</cp:lastPrinted>
  <dcterms:created xsi:type="dcterms:W3CDTF">2015-05-25T06:41:24Z</dcterms:created>
  <dcterms:modified xsi:type="dcterms:W3CDTF">2024-10-28T14:08:31Z</dcterms:modified>
</cp:coreProperties>
</file>